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8BB56DF4-F735-496B-950F-08728B603B92}"/>
    <pc:docChg chg="delSld">
      <pc:chgData name="Meyer Raphael (PAR-ES)" userId="79615dfe-ed48-4e74-a40f-4f7b034c1c27" providerId="ADAL" clId="{8BB56DF4-F735-496B-950F-08728B603B92}" dt="2022-02-21T11:05:14.687" v="0" actId="47"/>
      <pc:docMkLst>
        <pc:docMk/>
      </pc:docMkLst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1838343115" sldId="402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3015962495" sldId="403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61C34AA5-C270-47C9-B920-4DA8AA489300}"/>
    <pc:docChg chg="modSld">
      <pc:chgData name="Weigel Stefan (PAR-EPS)" userId="fd3b2067-2981-4ad8-bf3a-d2e1004e4fa8" providerId="ADAL" clId="{61C34AA5-C270-47C9-B920-4DA8AA489300}" dt="2024-04-12T08:16:36.788" v="48" actId="20577"/>
      <pc:docMkLst>
        <pc:docMk/>
      </pc:docMkLst>
      <pc:sldChg chg="addSp modSp mod setBg">
        <pc:chgData name="Weigel Stefan (PAR-EPS)" userId="fd3b2067-2981-4ad8-bf3a-d2e1004e4fa8" providerId="ADAL" clId="{61C34AA5-C270-47C9-B920-4DA8AA489300}" dt="2024-04-12T08:16:36.788" v="48" actId="20577"/>
        <pc:sldMkLst>
          <pc:docMk/>
          <pc:sldMk cId="57003221" sldId="400"/>
        </pc:sldMkLst>
        <pc:spChg chg="add mod">
          <ac:chgData name="Weigel Stefan (PAR-EPS)" userId="fd3b2067-2981-4ad8-bf3a-d2e1004e4fa8" providerId="ADAL" clId="{61C34AA5-C270-47C9-B920-4DA8AA489300}" dt="2024-04-12T08:16:31.224" v="33" actId="20577"/>
          <ac:spMkLst>
            <pc:docMk/>
            <pc:sldMk cId="57003221" sldId="400"/>
            <ac:spMk id="2" creationId="{6A3AEE64-421F-13AE-87D3-1AB5D33BA47B}"/>
          </ac:spMkLst>
        </pc:spChg>
        <pc:spChg chg="add mod">
          <ac:chgData name="Weigel Stefan (PAR-EPS)" userId="fd3b2067-2981-4ad8-bf3a-d2e1004e4fa8" providerId="ADAL" clId="{61C34AA5-C270-47C9-B920-4DA8AA489300}" dt="2024-04-12T08:16:36.788" v="48" actId="20577"/>
          <ac:spMkLst>
            <pc:docMk/>
            <pc:sldMk cId="57003221" sldId="400"/>
            <ac:spMk id="3" creationId="{373E8BDA-2EC2-BA08-D468-593241DBF8D3}"/>
          </ac:spMkLst>
        </pc:spChg>
        <pc:spChg chg="mod">
          <ac:chgData name="Weigel Stefan (PAR-EPS)" userId="fd3b2067-2981-4ad8-bf3a-d2e1004e4fa8" providerId="ADAL" clId="{61C34AA5-C270-47C9-B920-4DA8AA489300}" dt="2024-04-08T13:54:00.068" v="8" actId="1035"/>
          <ac:spMkLst>
            <pc:docMk/>
            <pc:sldMk cId="57003221" sldId="400"/>
            <ac:spMk id="5" creationId="{92A937B8-76F1-40F4-B147-42962D317536}"/>
          </ac:spMkLst>
        </pc:spChg>
        <pc:graphicFrameChg chg="mod">
          <ac:chgData name="Weigel Stefan (PAR-EPS)" userId="fd3b2067-2981-4ad8-bf3a-d2e1004e4fa8" providerId="ADAL" clId="{61C34AA5-C270-47C9-B920-4DA8AA489300}" dt="2024-04-08T13:58:23.034" v="18" actId="207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61C34AA5-C270-47C9-B920-4DA8AA489300}" dt="2024-04-08T13:58:19.276" v="17" actId="207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151144B7-34C6-42AF-9DC6-93259298E345}"/>
    <pc:docChg chg="modSld">
      <pc:chgData name="Meyer Raphael (PAR-ES)" userId="79615dfe-ed48-4e74-a40f-4f7b034c1c27" providerId="ADAL" clId="{151144B7-34C6-42AF-9DC6-93259298E345}" dt="2023-02-22T13:16:29.963" v="9" actId="20577"/>
      <pc:docMkLst>
        <pc:docMk/>
      </pc:docMkLst>
      <pc:sldChg chg="modSp mod">
        <pc:chgData name="Meyer Raphael (PAR-ES)" userId="79615dfe-ed48-4e74-a40f-4f7b034c1c27" providerId="ADAL" clId="{151144B7-34C6-42AF-9DC6-93259298E345}" dt="2023-02-22T13:16:29.963" v="9" actId="20577"/>
        <pc:sldMkLst>
          <pc:docMk/>
          <pc:sldMk cId="57003221" sldId="400"/>
        </pc:sldMkLst>
        <pc:spChg chg="mod">
          <ac:chgData name="Meyer Raphael (PAR-ES)" userId="79615dfe-ed48-4e74-a40f-4f7b034c1c27" providerId="ADAL" clId="{151144B7-34C6-42AF-9DC6-93259298E345}" dt="2023-02-22T13:16:29.963" v="9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  <pc:docChgLst>
    <pc:chgData name="Weigel Stefan (PAR-EPS)" userId="fd3b2067-2981-4ad8-bf3a-d2e1004e4fa8" providerId="ADAL" clId="{D81561D3-5E31-4CB8-8B0F-BE1FCFC5AF04}"/>
    <pc:docChg chg="modSld">
      <pc:chgData name="Weigel Stefan (PAR-EPS)" userId="fd3b2067-2981-4ad8-bf3a-d2e1004e4fa8" providerId="ADAL" clId="{D81561D3-5E31-4CB8-8B0F-BE1FCFC5AF04}" dt="2024-02-28T08:01:06.519" v="91" actId="27918"/>
      <pc:docMkLst>
        <pc:docMk/>
      </pc:docMkLst>
      <pc:sldChg chg="modSp mod">
        <pc:chgData name="Weigel Stefan (PAR-EPS)" userId="fd3b2067-2981-4ad8-bf3a-d2e1004e4fa8" providerId="ADAL" clId="{D81561D3-5E31-4CB8-8B0F-BE1FCFC5AF04}" dt="2024-02-28T08:01:06.519" v="91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D81561D3-5E31-4CB8-8B0F-BE1FCFC5AF04}" dt="2024-02-28T07:51:20.419" v="71" actId="1035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Weigel Stefan (PAR-EPS)" userId="fd3b2067-2981-4ad8-bf3a-d2e1004e4fa8" providerId="ADAL" clId="{D81561D3-5E31-4CB8-8B0F-BE1FCFC5AF04}" dt="2024-02-28T07:51:53.897" v="75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D81561D3-5E31-4CB8-8B0F-BE1FCFC5AF04}" dt="2024-02-28T07:51:36.280" v="73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D81561D3-5E31-4CB8-8B0F-BE1FCFC5AF04}" dt="2024-02-28T07:51:31.982" v="72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C07F9641-95F2-4E79-A339-CDEB09223CEF}"/>
    <pc:docChg chg="modSld">
      <pc:chgData name="Weigel Stefan (PAR-EPS)" userId="fd3b2067-2981-4ad8-bf3a-d2e1004e4fa8" providerId="ADAL" clId="{C07F9641-95F2-4E79-A339-CDEB09223CEF}" dt="2025-02-21T09:13:13.450" v="20" actId="27918"/>
      <pc:docMkLst>
        <pc:docMk/>
      </pc:docMkLst>
      <pc:sldChg chg="modSp mod">
        <pc:chgData name="Weigel Stefan (PAR-EPS)" userId="fd3b2067-2981-4ad8-bf3a-d2e1004e4fa8" providerId="ADAL" clId="{C07F9641-95F2-4E79-A339-CDEB09223CEF}" dt="2025-02-21T09:13:13.450" v="20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C07F9641-95F2-4E79-A339-CDEB09223CEF}" dt="2025-02-13T14:12:00.654" v="10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2% – Verkehrsertrag</c:v>
                </c:pt>
                <c:pt idx="1">
                  <c:v>6% – Mieterträge Liegenschaften</c:v>
                </c:pt>
                <c:pt idx="2">
                  <c:v>12% – Nebenerträge</c:v>
                </c:pt>
                <c:pt idx="3">
                  <c:v>13% – Eigenleistungen</c:v>
                </c:pt>
                <c:pt idx="4">
                  <c:v>27% – Leistungen der öffentlichen Hand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814.9626766727297</c:v>
                </c:pt>
                <c:pt idx="1">
                  <c:v>718.247925022902</c:v>
                </c:pt>
                <c:pt idx="2">
                  <c:v>1323.2240477186299</c:v>
                </c:pt>
                <c:pt idx="3">
                  <c:v>1493.0376321199999</c:v>
                </c:pt>
                <c:pt idx="4">
                  <c:v>3056.1754474337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5817314502551627"/>
          <c:h val="0.18254047321631561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444444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4% – Personalaufwand</c:v>
                </c:pt>
                <c:pt idx="1">
                  <c:v>8% – Materialaufwand</c:v>
                </c:pt>
                <c:pt idx="2">
                  <c:v>11% – Betriebs- und Unterhaltsleistungen Dritter</c:v>
                </c:pt>
                <c:pt idx="3">
                  <c:v>14% – Übriger Aufwand</c:v>
                </c:pt>
                <c:pt idx="4">
                  <c:v>23% – Abschreibungen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824.0756096973</c:v>
                </c:pt>
                <c:pt idx="1">
                  <c:v>-932.77300269094701</c:v>
                </c:pt>
                <c:pt idx="2">
                  <c:v>-1164.82256878204</c:v>
                </c:pt>
                <c:pt idx="3">
                  <c:v>-1510.67690092156</c:v>
                </c:pt>
                <c:pt idx="4">
                  <c:v>-2579.905738946749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1975308641975308E-4"/>
          <c:y val="0.78130886993356086"/>
          <c:w val="0.75263296478234698"/>
          <c:h val="0.18497931072011867"/>
        </c:manualLayout>
      </c:layout>
      <c:overlay val="0"/>
      <c:txPr>
        <a:bodyPr/>
        <a:lstStyle/>
        <a:p>
          <a:pPr rtl="0">
            <a:defRPr sz="11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8087140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5491671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dirty="0"/>
              <a:t>Betriebsertrag und Betriebsaufwand im 2024.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9034933" y="6269953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100" kern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6A3AEE64-421F-13AE-87D3-1AB5D33BA47B}"/>
              </a:ext>
            </a:extLst>
          </p:cNvPr>
          <p:cNvSpPr txBox="1"/>
          <p:nvPr/>
        </p:nvSpPr>
        <p:spPr>
          <a:xfrm>
            <a:off x="1494019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etriebsertrag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73E8BDA-2EC2-BA08-D468-593241DBF8D3}"/>
              </a:ext>
            </a:extLst>
          </p:cNvPr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etriebsaufwand</a:t>
            </a: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A7DA54F-6DD4-4DF4-BE09-8247B0868A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